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62" r:id="rId3"/>
    <p:sldId id="263" r:id="rId4"/>
    <p:sldId id="279" r:id="rId5"/>
    <p:sldId id="282" r:id="rId6"/>
    <p:sldId id="283" r:id="rId7"/>
    <p:sldId id="285" r:id="rId8"/>
    <p:sldId id="284" r:id="rId9"/>
  </p:sldIdLst>
  <p:sldSz cx="12192000" cy="6858000"/>
  <p:notesSz cx="6858000" cy="9144000"/>
  <p:embeddedFontLst>
    <p:embeddedFont>
      <p:font typeface="굴림" panose="020B0600000101010101" pitchFamily="34" charset="-127"/>
      <p:regular r:id="rId11"/>
    </p:embeddedFont>
    <p:embeddedFont>
      <p:font typeface="나눔스퀘어라운드 ExtraBold" panose="020B0604020202020204" charset="-127"/>
      <p:bold r:id="rId12"/>
    </p:embeddedFont>
    <p:embeddedFont>
      <p:font typeface="Georgia" panose="02040502050405020303" pitchFamily="18" charset="0"/>
      <p:regular r:id="rId13"/>
      <p:bold r:id="rId14"/>
      <p:italic r:id="rId15"/>
      <p:boldItalic r:id="rId16"/>
    </p:embeddedFont>
    <p:embeddedFont>
      <p:font typeface="Source Sans Pro" panose="020B0503030403020204" pitchFamily="34" charset="0"/>
      <p:regular r:id="rId17"/>
      <p:bold r:id="rId18"/>
      <p:italic r:id="rId19"/>
      <p:boldItalic r:id="rId20"/>
    </p:embeddedFont>
    <p:embeddedFont>
      <p:font typeface="Source Sans Pro Black" panose="020B0803030403020204" pitchFamily="34" charset="0"/>
      <p:bold r:id="rId21"/>
      <p:boldItalic r:id="rId22"/>
    </p:embeddedFont>
    <p:embeddedFont>
      <p:font typeface="Source Sans Pro Light" panose="020B0403030403020204" pitchFamily="34" charset="0"/>
      <p:regular r:id="rId23"/>
      <p:italic r:id="rId24"/>
    </p:embeddedFont>
    <p:embeddedFont>
      <p:font typeface="나눔고딕" panose="020D0604000000000000" pitchFamily="34" charset="-127"/>
      <p:regular r:id="rId25"/>
      <p:bold r:id="rId26"/>
    </p:embeddedFont>
    <p:embeddedFont>
      <p:font typeface="맑은 고딕" panose="020B0503020000020004" pitchFamily="34" charset="-127"/>
      <p:regular r:id="rId27"/>
      <p:bold r:id="rId28"/>
    </p:embeddedFont>
    <p:embeddedFont>
      <p:font typeface="서울한강체 B" panose="02020503020101020101" pitchFamily="18" charset="-127"/>
      <p:regular r:id="rId29"/>
    </p:embeddedFont>
  </p:embeddedFont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EEEEE"/>
    <a:srgbClr val="E7E7E5"/>
    <a:srgbClr val="FFCC00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4660"/>
  </p:normalViewPr>
  <p:slideViewPr>
    <p:cSldViewPr snapToGrid="0" showGuides="1">
      <p:cViewPr varScale="1">
        <p:scale>
          <a:sx n="87" d="100"/>
          <a:sy n="87" d="100"/>
        </p:scale>
        <p:origin x="2028" y="4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1.xml"/><Relationship Id="rId21" Type="http://schemas.openxmlformats.org/officeDocument/2006/relationships/font" Target="fonts/font11.fntdata"/><Relationship Id="rId34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font" Target="fonts/font1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font" Target="fonts/font18.fntdata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 HM" userId="ed52f62f5ebfd4d7" providerId="LiveId" clId="{FEA5C422-BBDC-4628-A7C2-B9611716AF35}"/>
    <pc:docChg chg="custSel addSld modSld sldOrd">
      <pc:chgData name="K HM" userId="ed52f62f5ebfd4d7" providerId="LiveId" clId="{FEA5C422-BBDC-4628-A7C2-B9611716AF35}" dt="2021-06-18T07:54:10.189" v="131"/>
      <pc:docMkLst>
        <pc:docMk/>
      </pc:docMkLst>
      <pc:sldChg chg="addSp modSp mod">
        <pc:chgData name="K HM" userId="ed52f62f5ebfd4d7" providerId="LiveId" clId="{FEA5C422-BBDC-4628-A7C2-B9611716AF35}" dt="2021-06-18T07:35:01.381" v="59" actId="1076"/>
        <pc:sldMkLst>
          <pc:docMk/>
          <pc:sldMk cId="2975439371" sldId="263"/>
        </pc:sldMkLst>
        <pc:spChg chg="mod">
          <ac:chgData name="K HM" userId="ed52f62f5ebfd4d7" providerId="LiveId" clId="{FEA5C422-BBDC-4628-A7C2-B9611716AF35}" dt="2021-06-18T07:34:36.857" v="51" actId="1076"/>
          <ac:spMkLst>
            <pc:docMk/>
            <pc:sldMk cId="2975439371" sldId="263"/>
            <ac:spMk id="2" creationId="{B5DF13A8-3865-478F-B9F7-29EB1C4971E4}"/>
          </ac:spMkLst>
        </pc:spChg>
        <pc:spChg chg="mod">
          <ac:chgData name="K HM" userId="ed52f62f5ebfd4d7" providerId="LiveId" clId="{FEA5C422-BBDC-4628-A7C2-B9611716AF35}" dt="2021-06-18T07:35:01.381" v="59" actId="1076"/>
          <ac:spMkLst>
            <pc:docMk/>
            <pc:sldMk cId="2975439371" sldId="263"/>
            <ac:spMk id="9" creationId="{D50F9E4F-71DA-44B2-8E62-4D27C6130DDD}"/>
          </ac:spMkLst>
        </pc:spChg>
        <pc:spChg chg="mod">
          <ac:chgData name="K HM" userId="ed52f62f5ebfd4d7" providerId="LiveId" clId="{FEA5C422-BBDC-4628-A7C2-B9611716AF35}" dt="2021-06-18T07:34:51.783" v="56" actId="1076"/>
          <ac:spMkLst>
            <pc:docMk/>
            <pc:sldMk cId="2975439371" sldId="263"/>
            <ac:spMk id="11" creationId="{77E7853B-29E0-4E31-9945-4AEF354C33D9}"/>
          </ac:spMkLst>
        </pc:spChg>
        <pc:spChg chg="add mod">
          <ac:chgData name="K HM" userId="ed52f62f5ebfd4d7" providerId="LiveId" clId="{FEA5C422-BBDC-4628-A7C2-B9611716AF35}" dt="2021-06-18T07:34:44.966" v="55" actId="20577"/>
          <ac:spMkLst>
            <pc:docMk/>
            <pc:sldMk cId="2975439371" sldId="263"/>
            <ac:spMk id="12" creationId="{70EDD354-EA87-4F91-8EC9-F4CFDDBB0CAD}"/>
          </ac:spMkLst>
        </pc:spChg>
        <pc:spChg chg="mod">
          <ac:chgData name="K HM" userId="ed52f62f5ebfd4d7" providerId="LiveId" clId="{FEA5C422-BBDC-4628-A7C2-B9611716AF35}" dt="2021-06-18T07:34:07.778" v="6" actId="27636"/>
          <ac:spMkLst>
            <pc:docMk/>
            <pc:sldMk cId="2975439371" sldId="263"/>
            <ac:spMk id="19" creationId="{F4E9FEF4-E0E3-457F-BA55-BB3FDAD16148}"/>
          </ac:spMkLst>
        </pc:spChg>
      </pc:sldChg>
      <pc:sldChg chg="modSp mod">
        <pc:chgData name="K HM" userId="ed52f62f5ebfd4d7" providerId="LiveId" clId="{FEA5C422-BBDC-4628-A7C2-B9611716AF35}" dt="2021-06-18T07:35:11.526" v="61" actId="20577"/>
        <pc:sldMkLst>
          <pc:docMk/>
          <pc:sldMk cId="3465385066" sldId="284"/>
        </pc:sldMkLst>
        <pc:spChg chg="mod">
          <ac:chgData name="K HM" userId="ed52f62f5ebfd4d7" providerId="LiveId" clId="{FEA5C422-BBDC-4628-A7C2-B9611716AF35}" dt="2021-06-18T07:35:11.526" v="61" actId="20577"/>
          <ac:spMkLst>
            <pc:docMk/>
            <pc:sldMk cId="3465385066" sldId="284"/>
            <ac:spMk id="4" creationId="{718B2397-6E1E-490E-87D2-925C0700E101}"/>
          </ac:spMkLst>
        </pc:spChg>
      </pc:sldChg>
      <pc:sldChg chg="addSp delSp modSp add mod ord modAnim">
        <pc:chgData name="K HM" userId="ed52f62f5ebfd4d7" providerId="LiveId" clId="{FEA5C422-BBDC-4628-A7C2-B9611716AF35}" dt="2021-06-18T07:54:10.189" v="131"/>
        <pc:sldMkLst>
          <pc:docMk/>
          <pc:sldMk cId="225856831" sldId="285"/>
        </pc:sldMkLst>
        <pc:spChg chg="mod">
          <ac:chgData name="K HM" userId="ed52f62f5ebfd4d7" providerId="LiveId" clId="{FEA5C422-BBDC-4628-A7C2-B9611716AF35}" dt="2021-06-18T07:35:27.131" v="102" actId="14100"/>
          <ac:spMkLst>
            <pc:docMk/>
            <pc:sldMk cId="225856831" sldId="285"/>
            <ac:spMk id="4" creationId="{718B2397-6E1E-490E-87D2-925C0700E101}"/>
          </ac:spMkLst>
        </pc:spChg>
        <pc:spChg chg="del">
          <ac:chgData name="K HM" userId="ed52f62f5ebfd4d7" providerId="LiveId" clId="{FEA5C422-BBDC-4628-A7C2-B9611716AF35}" dt="2021-06-18T07:52:28.289" v="103" actId="478"/>
          <ac:spMkLst>
            <pc:docMk/>
            <pc:sldMk cId="225856831" sldId="285"/>
            <ac:spMk id="5" creationId="{E858892A-5B8D-4FFE-AE78-96A9802B6307}"/>
          </ac:spMkLst>
        </pc:spChg>
        <pc:picChg chg="add mod ord">
          <ac:chgData name="K HM" userId="ed52f62f5ebfd4d7" providerId="LiveId" clId="{FEA5C422-BBDC-4628-A7C2-B9611716AF35}" dt="2021-06-18T07:53:05.743" v="121" actId="1076"/>
          <ac:picMkLst>
            <pc:docMk/>
            <pc:sldMk cId="225856831" sldId="285"/>
            <ac:picMk id="7" creationId="{4F1B8FFE-8E71-4007-BC4B-4B979690BE64}"/>
          </ac:picMkLst>
        </pc:picChg>
        <pc:picChg chg="add mod">
          <ac:chgData name="K HM" userId="ed52f62f5ebfd4d7" providerId="LiveId" clId="{FEA5C422-BBDC-4628-A7C2-B9611716AF35}" dt="2021-06-18T07:54:07.761" v="130" actId="1076"/>
          <ac:picMkLst>
            <pc:docMk/>
            <pc:sldMk cId="225856831" sldId="285"/>
            <ac:picMk id="9" creationId="{2B5D0F25-602B-46B1-BF1B-FC1DCC0785C8}"/>
          </ac:picMkLst>
        </pc:picChg>
        <pc:picChg chg="add mod ord">
          <ac:chgData name="K HM" userId="ed52f62f5ebfd4d7" providerId="LiveId" clId="{FEA5C422-BBDC-4628-A7C2-B9611716AF35}" dt="2021-06-18T07:53:59.442" v="128" actId="1076"/>
          <ac:picMkLst>
            <pc:docMk/>
            <pc:sldMk cId="225856831" sldId="285"/>
            <ac:picMk id="11" creationId="{9BC4EEC2-7BDC-46D2-8E56-3F14DCE22DB2}"/>
          </ac:picMkLst>
        </pc:picChg>
        <pc:picChg chg="add mod ord">
          <ac:chgData name="K HM" userId="ed52f62f5ebfd4d7" providerId="LiveId" clId="{FEA5C422-BBDC-4628-A7C2-B9611716AF35}" dt="2021-06-18T07:53:52.143" v="127" actId="167"/>
          <ac:picMkLst>
            <pc:docMk/>
            <pc:sldMk cId="225856831" sldId="285"/>
            <ac:picMk id="13" creationId="{27F74AEC-D067-470A-81DC-A4CFD4A047CD}"/>
          </ac:picMkLst>
        </pc:picChg>
        <pc:picChg chg="add mod ord">
          <ac:chgData name="K HM" userId="ed52f62f5ebfd4d7" providerId="LiveId" clId="{FEA5C422-BBDC-4628-A7C2-B9611716AF35}" dt="2021-06-18T07:53:08.616" v="122" actId="1076"/>
          <ac:picMkLst>
            <pc:docMk/>
            <pc:sldMk cId="225856831" sldId="285"/>
            <ac:picMk id="15" creationId="{DB0E3799-2540-454C-96C4-ABEEBE47949A}"/>
          </ac:picMkLst>
        </pc:picChg>
      </pc:sldChg>
    </pc:docChg>
  </pc:docChgLst>
  <pc:docChgLst>
    <pc:chgData name="K HM" userId="ed52f62f5ebfd4d7" providerId="LiveId" clId="{01CFDBB4-2B55-450B-AE21-971CBC905766}"/>
    <pc:docChg chg="undo custSel addSld delSld modSld">
      <pc:chgData name="K HM" userId="ed52f62f5ebfd4d7" providerId="LiveId" clId="{01CFDBB4-2B55-450B-AE21-971CBC905766}" dt="2021-04-06T06:19:02.589" v="1549" actId="1076"/>
      <pc:docMkLst>
        <pc:docMk/>
      </pc:docMkLst>
      <pc:sldChg chg="del">
        <pc:chgData name="K HM" userId="ed52f62f5ebfd4d7" providerId="LiveId" clId="{01CFDBB4-2B55-450B-AE21-971CBC905766}" dt="2021-04-06T03:30:45.599" v="225" actId="47"/>
        <pc:sldMkLst>
          <pc:docMk/>
          <pc:sldMk cId="1137184106" sldId="260"/>
        </pc:sldMkLst>
      </pc:sldChg>
      <pc:sldChg chg="modSp mod">
        <pc:chgData name="K HM" userId="ed52f62f5ebfd4d7" providerId="LiveId" clId="{01CFDBB4-2B55-450B-AE21-971CBC905766}" dt="2021-04-06T03:27:00.116" v="0" actId="2711"/>
        <pc:sldMkLst>
          <pc:docMk/>
          <pc:sldMk cId="3649141405" sldId="262"/>
        </pc:sldMkLst>
        <pc:spChg chg="mod">
          <ac:chgData name="K HM" userId="ed52f62f5ebfd4d7" providerId="LiveId" clId="{01CFDBB4-2B55-450B-AE21-971CBC905766}" dt="2021-04-06T03:27:00.116" v="0" actId="2711"/>
          <ac:spMkLst>
            <pc:docMk/>
            <pc:sldMk cId="3649141405" sldId="262"/>
            <ac:spMk id="86" creationId="{00000000-0000-0000-0000-000000000000}"/>
          </ac:spMkLst>
        </pc:spChg>
      </pc:sldChg>
      <pc:sldChg chg="addSp delSp modSp mod">
        <pc:chgData name="K HM" userId="ed52f62f5ebfd4d7" providerId="LiveId" clId="{01CFDBB4-2B55-450B-AE21-971CBC905766}" dt="2021-04-06T06:09:07.629" v="593" actId="2711"/>
        <pc:sldMkLst>
          <pc:docMk/>
          <pc:sldMk cId="2975439371" sldId="263"/>
        </pc:sldMkLst>
        <pc:spChg chg="mod">
          <ac:chgData name="K HM" userId="ed52f62f5ebfd4d7" providerId="LiveId" clId="{01CFDBB4-2B55-450B-AE21-971CBC905766}" dt="2021-04-06T03:28:21.978" v="99" actId="1076"/>
          <ac:spMkLst>
            <pc:docMk/>
            <pc:sldMk cId="2975439371" sldId="263"/>
            <ac:spMk id="2" creationId="{B5DF13A8-3865-478F-B9F7-29EB1C4971E4}"/>
          </ac:spMkLst>
        </pc:spChg>
        <pc:spChg chg="del">
          <ac:chgData name="K HM" userId="ed52f62f5ebfd4d7" providerId="LiveId" clId="{01CFDBB4-2B55-450B-AE21-971CBC905766}" dt="2021-04-06T03:27:17.798" v="4" actId="478"/>
          <ac:spMkLst>
            <pc:docMk/>
            <pc:sldMk cId="2975439371" sldId="263"/>
            <ac:spMk id="6" creationId="{F022CDB7-76C9-439E-B47D-449140156685}"/>
          </ac:spMkLst>
        </pc:spChg>
        <pc:spChg chg="mod">
          <ac:chgData name="K HM" userId="ed52f62f5ebfd4d7" providerId="LiveId" clId="{01CFDBB4-2B55-450B-AE21-971CBC905766}" dt="2021-04-06T06:08:44.231" v="590" actId="2711"/>
          <ac:spMkLst>
            <pc:docMk/>
            <pc:sldMk cId="2975439371" sldId="263"/>
            <ac:spMk id="9" creationId="{D50F9E4F-71DA-44B2-8E62-4D27C6130DDD}"/>
          </ac:spMkLst>
        </pc:spChg>
        <pc:spChg chg="mod">
          <ac:chgData name="K HM" userId="ed52f62f5ebfd4d7" providerId="LiveId" clId="{01CFDBB4-2B55-450B-AE21-971CBC905766}" dt="2021-04-06T06:08:59.190" v="592" actId="27636"/>
          <ac:spMkLst>
            <pc:docMk/>
            <pc:sldMk cId="2975439371" sldId="263"/>
            <ac:spMk id="10" creationId="{DC3AF3B0-700D-4141-A609-5DCEA181EB6B}"/>
          </ac:spMkLst>
        </pc:spChg>
        <pc:spChg chg="del">
          <ac:chgData name="K HM" userId="ed52f62f5ebfd4d7" providerId="LiveId" clId="{01CFDBB4-2B55-450B-AE21-971CBC905766}" dt="2021-04-06T03:27:18.667" v="5" actId="478"/>
          <ac:spMkLst>
            <pc:docMk/>
            <pc:sldMk cId="2975439371" sldId="263"/>
            <ac:spMk id="14" creationId="{23696F3B-56F9-4C09-B3CE-2D4E367FEB28}"/>
          </ac:spMkLst>
        </pc:spChg>
        <pc:spChg chg="del">
          <ac:chgData name="K HM" userId="ed52f62f5ebfd4d7" providerId="LiveId" clId="{01CFDBB4-2B55-450B-AE21-971CBC905766}" dt="2021-04-06T03:27:13.251" v="1" actId="478"/>
          <ac:spMkLst>
            <pc:docMk/>
            <pc:sldMk cId="2975439371" sldId="263"/>
            <ac:spMk id="15" creationId="{2DDBBB8F-D584-4426-A251-C473F7EF32D8}"/>
          </ac:spMkLst>
        </pc:spChg>
        <pc:spChg chg="del">
          <ac:chgData name="K HM" userId="ed52f62f5ebfd4d7" providerId="LiveId" clId="{01CFDBB4-2B55-450B-AE21-971CBC905766}" dt="2021-04-06T03:27:14.221" v="2" actId="478"/>
          <ac:spMkLst>
            <pc:docMk/>
            <pc:sldMk cId="2975439371" sldId="263"/>
            <ac:spMk id="16" creationId="{956BB366-FD74-42F7-8B69-38D3B5392916}"/>
          </ac:spMkLst>
        </pc:spChg>
        <pc:spChg chg="del">
          <ac:chgData name="K HM" userId="ed52f62f5ebfd4d7" providerId="LiveId" clId="{01CFDBB4-2B55-450B-AE21-971CBC905766}" dt="2021-04-06T03:27:15.732" v="3" actId="478"/>
          <ac:spMkLst>
            <pc:docMk/>
            <pc:sldMk cId="2975439371" sldId="263"/>
            <ac:spMk id="17" creationId="{3E333F27-B962-4CB9-A96D-270098D406C0}"/>
          </ac:spMkLst>
        </pc:spChg>
        <pc:spChg chg="add mod">
          <ac:chgData name="K HM" userId="ed52f62f5ebfd4d7" providerId="LiveId" clId="{01CFDBB4-2B55-450B-AE21-971CBC905766}" dt="2021-04-06T06:09:07.629" v="593" actId="2711"/>
          <ac:spMkLst>
            <pc:docMk/>
            <pc:sldMk cId="2975439371" sldId="263"/>
            <ac:spMk id="19" creationId="{F4E9FEF4-E0E3-457F-BA55-BB3FDAD16148}"/>
          </ac:spMkLst>
        </pc:spChg>
        <pc:spChg chg="add del mod">
          <ac:chgData name="K HM" userId="ed52f62f5ebfd4d7" providerId="LiveId" clId="{01CFDBB4-2B55-450B-AE21-971CBC905766}" dt="2021-04-06T03:29:47.111" v="181" actId="478"/>
          <ac:spMkLst>
            <pc:docMk/>
            <pc:sldMk cId="2975439371" sldId="263"/>
            <ac:spMk id="22" creationId="{D9053E47-3573-4BEC-B42E-9AB579F100E2}"/>
          </ac:spMkLst>
        </pc:spChg>
        <pc:spChg chg="add del mod">
          <ac:chgData name="K HM" userId="ed52f62f5ebfd4d7" providerId="LiveId" clId="{01CFDBB4-2B55-450B-AE21-971CBC905766}" dt="2021-04-06T03:29:50.109" v="182" actId="478"/>
          <ac:spMkLst>
            <pc:docMk/>
            <pc:sldMk cId="2975439371" sldId="263"/>
            <ac:spMk id="23" creationId="{04E027EC-D100-462D-B8B0-56291901CCD2}"/>
          </ac:spMkLst>
        </pc:spChg>
      </pc:sldChg>
      <pc:sldChg chg="del">
        <pc:chgData name="K HM" userId="ed52f62f5ebfd4d7" providerId="LiveId" clId="{01CFDBB4-2B55-450B-AE21-971CBC905766}" dt="2021-04-06T03:30:13.260" v="183" actId="47"/>
        <pc:sldMkLst>
          <pc:docMk/>
          <pc:sldMk cId="1230922351" sldId="278"/>
        </pc:sldMkLst>
      </pc:sldChg>
      <pc:sldChg chg="addSp delSp modSp mod modShow">
        <pc:chgData name="K HM" userId="ed52f62f5ebfd4d7" providerId="LiveId" clId="{01CFDBB4-2B55-450B-AE21-971CBC905766}" dt="2021-04-06T06:09:16.230" v="594" actId="1076"/>
        <pc:sldMkLst>
          <pc:docMk/>
          <pc:sldMk cId="4270837192" sldId="279"/>
        </pc:sldMkLst>
        <pc:spChg chg="mod">
          <ac:chgData name="K HM" userId="ed52f62f5ebfd4d7" providerId="LiveId" clId="{01CFDBB4-2B55-450B-AE21-971CBC905766}" dt="2021-04-06T03:31:41.383" v="282"/>
          <ac:spMkLst>
            <pc:docMk/>
            <pc:sldMk cId="4270837192" sldId="279"/>
            <ac:spMk id="4" creationId="{718B2397-6E1E-490E-87D2-925C0700E101}"/>
          </ac:spMkLst>
        </pc:spChg>
        <pc:spChg chg="add mod">
          <ac:chgData name="K HM" userId="ed52f62f5ebfd4d7" providerId="LiveId" clId="{01CFDBB4-2B55-450B-AE21-971CBC905766}" dt="2021-04-06T06:09:16.230" v="594" actId="1076"/>
          <ac:spMkLst>
            <pc:docMk/>
            <pc:sldMk cId="4270837192" sldId="279"/>
            <ac:spMk id="5" creationId="{E858892A-5B8D-4FFE-AE78-96A9802B6307}"/>
          </ac:spMkLst>
        </pc:spChg>
        <pc:spChg chg="add del mod">
          <ac:chgData name="K HM" userId="ed52f62f5ebfd4d7" providerId="LiveId" clId="{01CFDBB4-2B55-450B-AE21-971CBC905766}" dt="2021-04-06T06:03:53.311" v="581"/>
          <ac:spMkLst>
            <pc:docMk/>
            <pc:sldMk cId="4270837192" sldId="279"/>
            <ac:spMk id="6" creationId="{9983791A-67E2-47EA-B704-3560665B8BF2}"/>
          </ac:spMkLst>
        </pc:spChg>
      </pc:sldChg>
      <pc:sldChg chg="delSp modSp del mod">
        <pc:chgData name="K HM" userId="ed52f62f5ebfd4d7" providerId="LiveId" clId="{01CFDBB4-2B55-450B-AE21-971CBC905766}" dt="2021-04-06T03:31:27.996" v="243" actId="47"/>
        <pc:sldMkLst>
          <pc:docMk/>
          <pc:sldMk cId="3199427073" sldId="281"/>
        </pc:sldMkLst>
        <pc:spChg chg="mod">
          <ac:chgData name="K HM" userId="ed52f62f5ebfd4d7" providerId="LiveId" clId="{01CFDBB4-2B55-450B-AE21-971CBC905766}" dt="2021-04-06T03:30:23.581" v="221"/>
          <ac:spMkLst>
            <pc:docMk/>
            <pc:sldMk cId="3199427073" sldId="281"/>
            <ac:spMk id="4" creationId="{718B2397-6E1E-490E-87D2-925C0700E101}"/>
          </ac:spMkLst>
        </pc:spChg>
        <pc:spChg chg="mod">
          <ac:chgData name="K HM" userId="ed52f62f5ebfd4d7" providerId="LiveId" clId="{01CFDBB4-2B55-450B-AE21-971CBC905766}" dt="2021-04-06T03:30:28.867" v="224" actId="1076"/>
          <ac:spMkLst>
            <pc:docMk/>
            <pc:sldMk cId="3199427073" sldId="281"/>
            <ac:spMk id="6" creationId="{87A8B467-266C-4D57-AAF1-8DC3D9861C40}"/>
          </ac:spMkLst>
        </pc:spChg>
        <pc:grpChg chg="del">
          <ac:chgData name="K HM" userId="ed52f62f5ebfd4d7" providerId="LiveId" clId="{01CFDBB4-2B55-450B-AE21-971CBC905766}" dt="2021-04-06T03:30:25.073" v="222" actId="478"/>
          <ac:grpSpMkLst>
            <pc:docMk/>
            <pc:sldMk cId="3199427073" sldId="281"/>
            <ac:grpSpMk id="9" creationId="{AED69ED1-62B8-416F-BFC2-D7737B729F93}"/>
          </ac:grpSpMkLst>
        </pc:grpChg>
      </pc:sldChg>
      <pc:sldChg chg="modSp add del mod setBg">
        <pc:chgData name="K HM" userId="ed52f62f5ebfd4d7" providerId="LiveId" clId="{01CFDBB4-2B55-450B-AE21-971CBC905766}" dt="2021-04-06T03:31:06.535" v="235" actId="47"/>
        <pc:sldMkLst>
          <pc:docMk/>
          <pc:sldMk cId="1012321581" sldId="282"/>
        </pc:sldMkLst>
        <pc:spChg chg="mod">
          <ac:chgData name="K HM" userId="ed52f62f5ebfd4d7" providerId="LiveId" clId="{01CFDBB4-2B55-450B-AE21-971CBC905766}" dt="2021-04-06T03:30:55.849" v="232" actId="20577"/>
          <ac:spMkLst>
            <pc:docMk/>
            <pc:sldMk cId="1012321581" sldId="282"/>
            <ac:spMk id="4" creationId="{718B2397-6E1E-490E-87D2-925C0700E101}"/>
          </ac:spMkLst>
        </pc:spChg>
      </pc:sldChg>
      <pc:sldChg chg="addSp modSp add mod modShow">
        <pc:chgData name="K HM" userId="ed52f62f5ebfd4d7" providerId="LiveId" clId="{01CFDBB4-2B55-450B-AE21-971CBC905766}" dt="2021-04-06T06:12:51.309" v="871" actId="13822"/>
        <pc:sldMkLst>
          <pc:docMk/>
          <pc:sldMk cId="1167693411" sldId="282"/>
        </pc:sldMkLst>
        <pc:spChg chg="mod">
          <ac:chgData name="K HM" userId="ed52f62f5ebfd4d7" providerId="LiveId" clId="{01CFDBB4-2B55-450B-AE21-971CBC905766}" dt="2021-04-06T03:31:57.932" v="334" actId="14100"/>
          <ac:spMkLst>
            <pc:docMk/>
            <pc:sldMk cId="1167693411" sldId="282"/>
            <ac:spMk id="4" creationId="{718B2397-6E1E-490E-87D2-925C0700E101}"/>
          </ac:spMkLst>
        </pc:spChg>
        <pc:spChg chg="add mod">
          <ac:chgData name="K HM" userId="ed52f62f5ebfd4d7" providerId="LiveId" clId="{01CFDBB4-2B55-450B-AE21-971CBC905766}" dt="2021-04-06T06:11:03.139" v="610" actId="20577"/>
          <ac:spMkLst>
            <pc:docMk/>
            <pc:sldMk cId="1167693411" sldId="282"/>
            <ac:spMk id="5" creationId="{A66FACB8-5AB7-4B74-8428-BF4172AB7B0D}"/>
          </ac:spMkLst>
        </pc:spChg>
        <pc:spChg chg="add mod">
          <ac:chgData name="K HM" userId="ed52f62f5ebfd4d7" providerId="LiveId" clId="{01CFDBB4-2B55-450B-AE21-971CBC905766}" dt="2021-04-06T06:12:36.893" v="869" actId="1076"/>
          <ac:spMkLst>
            <pc:docMk/>
            <pc:sldMk cId="1167693411" sldId="282"/>
            <ac:spMk id="6" creationId="{47282163-1CF1-4D42-9628-3B6B1C3A49FD}"/>
          </ac:spMkLst>
        </pc:spChg>
        <pc:spChg chg="add mod">
          <ac:chgData name="K HM" userId="ed52f62f5ebfd4d7" providerId="LiveId" clId="{01CFDBB4-2B55-450B-AE21-971CBC905766}" dt="2021-04-06T06:12:51.309" v="871" actId="13822"/>
          <ac:spMkLst>
            <pc:docMk/>
            <pc:sldMk cId="1167693411" sldId="282"/>
            <ac:spMk id="7" creationId="{E09C8CA0-90B7-4AA4-95CA-10D562D1C3B4}"/>
          </ac:spMkLst>
        </pc:spChg>
      </pc:sldChg>
      <pc:sldChg chg="add del setBg">
        <pc:chgData name="K HM" userId="ed52f62f5ebfd4d7" providerId="LiveId" clId="{01CFDBB4-2B55-450B-AE21-971CBC905766}" dt="2021-04-06T03:31:06.747" v="236" actId="47"/>
        <pc:sldMkLst>
          <pc:docMk/>
          <pc:sldMk cId="2451412009" sldId="283"/>
        </pc:sldMkLst>
      </pc:sldChg>
      <pc:sldChg chg="addSp modSp add mod">
        <pc:chgData name="K HM" userId="ed52f62f5ebfd4d7" providerId="LiveId" clId="{01CFDBB4-2B55-450B-AE21-971CBC905766}" dt="2021-04-06T06:19:02.589" v="1549" actId="1076"/>
        <pc:sldMkLst>
          <pc:docMk/>
          <pc:sldMk cId="3756172551" sldId="283"/>
        </pc:sldMkLst>
        <pc:spChg chg="mod">
          <ac:chgData name="K HM" userId="ed52f62f5ebfd4d7" providerId="LiveId" clId="{01CFDBB4-2B55-450B-AE21-971CBC905766}" dt="2021-04-06T03:32:11.623" v="369"/>
          <ac:spMkLst>
            <pc:docMk/>
            <pc:sldMk cId="3756172551" sldId="283"/>
            <ac:spMk id="4" creationId="{718B2397-6E1E-490E-87D2-925C0700E101}"/>
          </ac:spMkLst>
        </pc:spChg>
        <pc:spChg chg="add mod">
          <ac:chgData name="K HM" userId="ed52f62f5ebfd4d7" providerId="LiveId" clId="{01CFDBB4-2B55-450B-AE21-971CBC905766}" dt="2021-04-06T06:15:47.451" v="1349" actId="1076"/>
          <ac:spMkLst>
            <pc:docMk/>
            <pc:sldMk cId="3756172551" sldId="283"/>
            <ac:spMk id="5" creationId="{6881BC0C-4155-415B-BB2E-0A9F59060977}"/>
          </ac:spMkLst>
        </pc:spChg>
        <pc:spChg chg="add mod">
          <ac:chgData name="K HM" userId="ed52f62f5ebfd4d7" providerId="LiveId" clId="{01CFDBB4-2B55-450B-AE21-971CBC905766}" dt="2021-04-06T06:19:02.589" v="1549" actId="1076"/>
          <ac:spMkLst>
            <pc:docMk/>
            <pc:sldMk cId="3756172551" sldId="283"/>
            <ac:spMk id="6" creationId="{84AD959D-39F5-4336-97DE-B6D59D3A9135}"/>
          </ac:spMkLst>
        </pc:spChg>
      </pc:sldChg>
      <pc:sldChg chg="add del setBg">
        <pc:chgData name="K HM" userId="ed52f62f5ebfd4d7" providerId="LiveId" clId="{01CFDBB4-2B55-450B-AE21-971CBC905766}" dt="2021-04-06T03:31:06.916" v="237" actId="47"/>
        <pc:sldMkLst>
          <pc:docMk/>
          <pc:sldMk cId="1383015824" sldId="284"/>
        </pc:sldMkLst>
      </pc:sldChg>
      <pc:sldChg chg="add del setBg">
        <pc:chgData name="K HM" userId="ed52f62f5ebfd4d7" providerId="LiveId" clId="{01CFDBB4-2B55-450B-AE21-971CBC905766}" dt="2021-04-06T03:31:07.566" v="238" actId="47"/>
        <pc:sldMkLst>
          <pc:docMk/>
          <pc:sldMk cId="509292551" sldId="285"/>
        </pc:sldMkLst>
      </pc:sldChg>
      <pc:sldChg chg="add del setBg">
        <pc:chgData name="K HM" userId="ed52f62f5ebfd4d7" providerId="LiveId" clId="{01CFDBB4-2B55-450B-AE21-971CBC905766}" dt="2021-04-06T03:31:06.016" v="234" actId="47"/>
        <pc:sldMkLst>
          <pc:docMk/>
          <pc:sldMk cId="326311238" sldId="286"/>
        </pc:sldMkLst>
      </pc:sldChg>
      <pc:sldMasterChg chg="delSldLayout">
        <pc:chgData name="K HM" userId="ed52f62f5ebfd4d7" providerId="LiveId" clId="{01CFDBB4-2B55-450B-AE21-971CBC905766}" dt="2021-04-06T03:31:27.996" v="243" actId="47"/>
        <pc:sldMasterMkLst>
          <pc:docMk/>
          <pc:sldMasterMk cId="4163326535" sldId="2147483660"/>
        </pc:sldMasterMkLst>
        <pc:sldLayoutChg chg="del">
          <pc:chgData name="K HM" userId="ed52f62f5ebfd4d7" providerId="LiveId" clId="{01CFDBB4-2B55-450B-AE21-971CBC905766}" dt="2021-04-06T03:31:27.996" v="243" actId="47"/>
          <pc:sldLayoutMkLst>
            <pc:docMk/>
            <pc:sldMasterMk cId="4163326535" sldId="2147483660"/>
            <pc:sldLayoutMk cId="3388100335" sldId="2147483670"/>
          </pc:sldLayoutMkLst>
        </pc:sldLayoutChg>
      </pc:sldMasterChg>
    </pc:docChg>
  </pc:docChgLst>
  <pc:docChgLst>
    <pc:chgData name="K HM" userId="ed52f62f5ebfd4d7" providerId="LiveId" clId="{7ED21DFD-D7C6-417D-B9B8-09D5780FCE80}"/>
    <pc:docChg chg="custSel addSld delSld modSld">
      <pc:chgData name="K HM" userId="ed52f62f5ebfd4d7" providerId="LiveId" clId="{7ED21DFD-D7C6-417D-B9B8-09D5780FCE80}" dt="2021-06-18T07:33:04.858" v="323" actId="1076"/>
      <pc:docMkLst>
        <pc:docMk/>
      </pc:docMkLst>
      <pc:sldChg chg="addSp modSp mod">
        <pc:chgData name="K HM" userId="ed52f62f5ebfd4d7" providerId="LiveId" clId="{7ED21DFD-D7C6-417D-B9B8-09D5780FCE80}" dt="2021-06-18T07:32:24.339" v="284" actId="403"/>
        <pc:sldMkLst>
          <pc:docMk/>
          <pc:sldMk cId="2975439371" sldId="263"/>
        </pc:sldMkLst>
        <pc:spChg chg="add mod">
          <ac:chgData name="K HM" userId="ed52f62f5ebfd4d7" providerId="LiveId" clId="{7ED21DFD-D7C6-417D-B9B8-09D5780FCE80}" dt="2021-06-18T07:32:24.339" v="284" actId="403"/>
          <ac:spMkLst>
            <pc:docMk/>
            <pc:sldMk cId="2975439371" sldId="263"/>
            <ac:spMk id="11" creationId="{77E7853B-29E0-4E31-9945-4AEF354C33D9}"/>
          </ac:spMkLst>
        </pc:spChg>
      </pc:sldChg>
      <pc:sldChg chg="modSp mod">
        <pc:chgData name="K HM" userId="ed52f62f5ebfd4d7" providerId="LiveId" clId="{7ED21DFD-D7C6-417D-B9B8-09D5780FCE80}" dt="2021-06-18T07:29:04.213" v="37" actId="113"/>
        <pc:sldMkLst>
          <pc:docMk/>
          <pc:sldMk cId="4270837192" sldId="279"/>
        </pc:sldMkLst>
        <pc:spChg chg="mod">
          <ac:chgData name="K HM" userId="ed52f62f5ebfd4d7" providerId="LiveId" clId="{7ED21DFD-D7C6-417D-B9B8-09D5780FCE80}" dt="2021-06-18T07:29:04.213" v="37" actId="113"/>
          <ac:spMkLst>
            <pc:docMk/>
            <pc:sldMk cId="4270837192" sldId="279"/>
            <ac:spMk id="5" creationId="{E858892A-5B8D-4FFE-AE78-96A9802B6307}"/>
          </ac:spMkLst>
        </pc:spChg>
      </pc:sldChg>
      <pc:sldChg chg="modSp mod">
        <pc:chgData name="K HM" userId="ed52f62f5ebfd4d7" providerId="LiveId" clId="{7ED21DFD-D7C6-417D-B9B8-09D5780FCE80}" dt="2021-06-18T07:29:53.783" v="141" actId="20577"/>
        <pc:sldMkLst>
          <pc:docMk/>
          <pc:sldMk cId="1167693411" sldId="282"/>
        </pc:sldMkLst>
        <pc:spChg chg="mod">
          <ac:chgData name="K HM" userId="ed52f62f5ebfd4d7" providerId="LiveId" clId="{7ED21DFD-D7C6-417D-B9B8-09D5780FCE80}" dt="2021-06-18T07:29:39.344" v="120" actId="6549"/>
          <ac:spMkLst>
            <pc:docMk/>
            <pc:sldMk cId="1167693411" sldId="282"/>
            <ac:spMk id="5" creationId="{A66FACB8-5AB7-4B74-8428-BF4172AB7B0D}"/>
          </ac:spMkLst>
        </pc:spChg>
        <pc:spChg chg="mod">
          <ac:chgData name="K HM" userId="ed52f62f5ebfd4d7" providerId="LiveId" clId="{7ED21DFD-D7C6-417D-B9B8-09D5780FCE80}" dt="2021-06-18T07:29:53.783" v="141" actId="20577"/>
          <ac:spMkLst>
            <pc:docMk/>
            <pc:sldMk cId="1167693411" sldId="282"/>
            <ac:spMk id="6" creationId="{47282163-1CF1-4D42-9628-3B6B1C3A49FD}"/>
          </ac:spMkLst>
        </pc:spChg>
      </pc:sldChg>
      <pc:sldChg chg="modSp mod">
        <pc:chgData name="K HM" userId="ed52f62f5ebfd4d7" providerId="LiveId" clId="{7ED21DFD-D7C6-417D-B9B8-09D5780FCE80}" dt="2021-06-18T07:31:48.175" v="262" actId="20577"/>
        <pc:sldMkLst>
          <pc:docMk/>
          <pc:sldMk cId="3756172551" sldId="283"/>
        </pc:sldMkLst>
        <pc:spChg chg="mod">
          <ac:chgData name="K HM" userId="ed52f62f5ebfd4d7" providerId="LiveId" clId="{7ED21DFD-D7C6-417D-B9B8-09D5780FCE80}" dt="2021-06-18T07:31:48.175" v="262" actId="20577"/>
          <ac:spMkLst>
            <pc:docMk/>
            <pc:sldMk cId="3756172551" sldId="283"/>
            <ac:spMk id="5" creationId="{6881BC0C-4155-415B-BB2E-0A9F59060977}"/>
          </ac:spMkLst>
        </pc:spChg>
        <pc:spChg chg="mod">
          <ac:chgData name="K HM" userId="ed52f62f5ebfd4d7" providerId="LiveId" clId="{7ED21DFD-D7C6-417D-B9B8-09D5780FCE80}" dt="2021-06-18T07:30:51.176" v="151" actId="2711"/>
          <ac:spMkLst>
            <pc:docMk/>
            <pc:sldMk cId="3756172551" sldId="283"/>
            <ac:spMk id="6" creationId="{84AD959D-39F5-4336-97DE-B6D59D3A9135}"/>
          </ac:spMkLst>
        </pc:spChg>
      </pc:sldChg>
      <pc:sldChg chg="new del">
        <pc:chgData name="K HM" userId="ed52f62f5ebfd4d7" providerId="LiveId" clId="{7ED21DFD-D7C6-417D-B9B8-09D5780FCE80}" dt="2021-06-18T07:31:58.698" v="264" actId="47"/>
        <pc:sldMkLst>
          <pc:docMk/>
          <pc:sldMk cId="1894452038" sldId="284"/>
        </pc:sldMkLst>
      </pc:sldChg>
      <pc:sldChg chg="modSp add mod">
        <pc:chgData name="K HM" userId="ed52f62f5ebfd4d7" providerId="LiveId" clId="{7ED21DFD-D7C6-417D-B9B8-09D5780FCE80}" dt="2021-06-18T07:33:04.858" v="323" actId="1076"/>
        <pc:sldMkLst>
          <pc:docMk/>
          <pc:sldMk cId="3465385066" sldId="284"/>
        </pc:sldMkLst>
        <pc:spChg chg="mod">
          <ac:chgData name="K HM" userId="ed52f62f5ebfd4d7" providerId="LiveId" clId="{7ED21DFD-D7C6-417D-B9B8-09D5780FCE80}" dt="2021-06-18T07:32:38.517" v="309"/>
          <ac:spMkLst>
            <pc:docMk/>
            <pc:sldMk cId="3465385066" sldId="284"/>
            <ac:spMk id="4" creationId="{718B2397-6E1E-490E-87D2-925C0700E101}"/>
          </ac:spMkLst>
        </pc:spChg>
        <pc:spChg chg="mod">
          <ac:chgData name="K HM" userId="ed52f62f5ebfd4d7" providerId="LiveId" clId="{7ED21DFD-D7C6-417D-B9B8-09D5780FCE80}" dt="2021-06-18T07:33:04.858" v="323" actId="1076"/>
          <ac:spMkLst>
            <pc:docMk/>
            <pc:sldMk cId="3465385066" sldId="284"/>
            <ac:spMk id="5" creationId="{E858892A-5B8D-4FFE-AE78-96A9802B6307}"/>
          </ac:spMkLst>
        </pc:spChg>
      </pc:sldChg>
    </pc:docChg>
  </pc:docChgLst>
  <pc:docChgLst>
    <pc:chgData name="K HM" userId="ed52f62f5ebfd4d7" providerId="LiveId" clId="{63CB0D66-1C7F-449E-B879-24D9B3FEB905}"/>
    <pc:docChg chg="modSld">
      <pc:chgData name="K HM" userId="ed52f62f5ebfd4d7" providerId="LiveId" clId="{63CB0D66-1C7F-449E-B879-24D9B3FEB905}" dt="2021-09-09T19:32:16.448" v="3" actId="1076"/>
      <pc:docMkLst>
        <pc:docMk/>
      </pc:docMkLst>
      <pc:sldChg chg="modSp mod">
        <pc:chgData name="K HM" userId="ed52f62f5ebfd4d7" providerId="LiveId" clId="{63CB0D66-1C7F-449E-B879-24D9B3FEB905}" dt="2021-09-09T19:32:16.448" v="3" actId="1076"/>
        <pc:sldMkLst>
          <pc:docMk/>
          <pc:sldMk cId="225856831" sldId="285"/>
        </pc:sldMkLst>
        <pc:picChg chg="mod">
          <ac:chgData name="K HM" userId="ed52f62f5ebfd4d7" providerId="LiveId" clId="{63CB0D66-1C7F-449E-B879-24D9B3FEB905}" dt="2021-09-09T19:32:12.220" v="0" actId="1076"/>
          <ac:picMkLst>
            <pc:docMk/>
            <pc:sldMk cId="225856831" sldId="285"/>
            <ac:picMk id="7" creationId="{4F1B8FFE-8E71-4007-BC4B-4B979690BE64}"/>
          </ac:picMkLst>
        </pc:picChg>
        <pc:picChg chg="mod">
          <ac:chgData name="K HM" userId="ed52f62f5ebfd4d7" providerId="LiveId" clId="{63CB0D66-1C7F-449E-B879-24D9B3FEB905}" dt="2021-09-09T19:32:16.448" v="3" actId="1076"/>
          <ac:picMkLst>
            <pc:docMk/>
            <pc:sldMk cId="225856831" sldId="285"/>
            <ac:picMk id="9" creationId="{2B5D0F25-602B-46B1-BF1B-FC1DCC0785C8}"/>
          </ac:picMkLst>
        </pc:picChg>
        <pc:picChg chg="mod">
          <ac:chgData name="K HM" userId="ed52f62f5ebfd4d7" providerId="LiveId" clId="{63CB0D66-1C7F-449E-B879-24D9B3FEB905}" dt="2021-09-09T19:32:14.376" v="2" actId="1076"/>
          <ac:picMkLst>
            <pc:docMk/>
            <pc:sldMk cId="225856831" sldId="285"/>
            <ac:picMk id="11" creationId="{9BC4EEC2-7BDC-46D2-8E56-3F14DCE22DB2}"/>
          </ac:picMkLst>
        </pc:picChg>
        <pc:picChg chg="mod">
          <ac:chgData name="K HM" userId="ed52f62f5ebfd4d7" providerId="LiveId" clId="{63CB0D66-1C7F-449E-B879-24D9B3FEB905}" dt="2021-09-09T19:32:13.068" v="1" actId="1076"/>
          <ac:picMkLst>
            <pc:docMk/>
            <pc:sldMk cId="225856831" sldId="285"/>
            <ac:picMk id="15" creationId="{DB0E3799-2540-454C-96C4-ABEEBE47949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3E35CB-4AF0-49B2-AC3C-829945C2BD91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72BD3F-EE1E-4CAE-B38A-53BE9CFCBAF2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0568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190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368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BE9820CC-4539-431A-A07C-1B1F49858B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F101A977-3A34-4000-8570-F4806466E3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DCC9540-B636-4AB4-9447-6AA62E030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411E222-5368-44E2-85E9-167FBF46B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7C9D5A1-D81B-4E6F-9A76-F846A40E9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3322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9C573D4-846F-4F82-B7F1-490F69341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DF704F0F-C739-42F7-B836-4C8E9329BB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64B4C91-B3AA-48A8-8C2A-50D697371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B8D3C4B-9008-454B-9EAC-B77AFC3F5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2D09724A-B40D-42FA-8BF1-7B5F0BB78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3636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DCB512CC-15D6-4F21-8A32-E7ABEE7816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17395B0-E965-45CE-99A4-C34BE50320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522276B6-DA1B-4387-AFCE-908E64A88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9EC3F91-BFE0-45AC-A1A1-7943B7F7F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3AAB9733-F91F-46FB-AAAA-6C02362ED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81846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24415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96791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38359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70237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9095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112495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439998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546596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F6155F0-F159-4DF3-8E38-049659284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886086ED-59CF-47A5-976B-B9827E1A1A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8696AB1-85B5-4062-9C63-5045360E24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2CFC492-5C8C-4849-AF32-EDAE6DB02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4375127-1800-4E0F-A2DB-AC10057E2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66554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804691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D6E054A-9336-425B-84AB-1165A7FB2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8E6C0F-BB57-4826-A73A-62E9B7DC71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D4E29EA4-08C2-4BA1-8A82-130728F8E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7C1027F1-E6A6-4617-9688-A17C0E1BB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C5768AF8-ADA6-48F4-B041-23640CF398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1198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C04791C-0B0E-4669-884A-5EDC84666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3617371C-C8D0-4852-BEA9-FDDC88C83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A7740DB-BA6A-41FE-99A4-095E9D7394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7E2E97A9-636F-4C16-A498-FC64864FA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51650C5B-146B-4E0A-BB6F-A0F18D67D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D8D927F4-F759-4EA7-9E3D-E5A18BF83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55223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935AB0-4C6C-4D4A-9953-940FCC80C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724A82F6-CD55-43B7-B861-61560DF9C1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9FFD9481-B9CD-421F-8DBD-B164C74BF6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524FE7BB-747A-4101-B172-7C2782674F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D37347E3-96A4-4B08-9A94-EE02B81D45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AA2E3671-FB9B-4B44-9A23-B8AD023CF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C5719C2A-02DB-4D7D-8034-912CC70A7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5A94E148-376E-4C6B-80C9-50F658903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447377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DD5FEEC-5B4E-4255-925A-0D8AB7056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D663BD1C-E140-4B3E-B2DC-42B8A1E38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AECFD9B0-FA5A-4F6D-A6A4-F5AB803E8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E723AF92-B665-48E2-B329-B2040C700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5839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658F95C4-BD6A-4581-8FE1-386B88A21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9170D201-630D-4490-ACF3-494076539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5E123ED-0FFE-41AD-9F6A-2077DF08C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12040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D129EF1-5945-4F9C-AD47-C30C6E43C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E44B0F90-9972-4542-B47E-1790172F1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A4DDB044-7290-466B-833D-1B6B3212E0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3C62FF77-DA02-4D34-B944-AF80FAA56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4F9020EE-FDA7-4A60-8832-FBD8F17A5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CE04D66-1974-4920-97F5-AAAF65526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4958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E5BD9A95-17FA-4127-9BF3-14E41B4DD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97E45456-6460-4174-8DE0-211B2D6880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2017ADEF-10B3-4B74-B787-516F85F34C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68E27A32-B835-40C5-8475-A9763F89C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AB96C85-1684-4750-9688-D71AC9870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31A300F-04AB-4C27-B856-E4F08A5DC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645258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A734214B-5C80-492D-BB64-017132DB2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5465B165-5798-4224-A203-1C9A4AF64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79B3961-65BF-4F08-AC45-269C4A1AC6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71696-BDD4-4A2C-B3C8-2AC843CE8705}" type="datetimeFigureOut">
              <a:rPr lang="ko-KR" altLang="en-US" smtClean="0"/>
              <a:t>2021-09-10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C3771145-6BC4-4756-A9F3-54DB2A536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F89BE9F2-EC37-4B12-BC80-A1C99AB4D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7D61B0-5EAA-4569-9FFA-DACA9160FC3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8922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3326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89">
          <p15:clr>
            <a:srgbClr val="F26B43"/>
          </p15:clr>
        </p15:guide>
        <p15:guide id="3" orient="horz" pos="4156">
          <p15:clr>
            <a:srgbClr val="F26B43"/>
          </p15:clr>
        </p15:guide>
        <p15:guide id="4" pos="74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0" y="-22578"/>
            <a:ext cx="779779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97800" y="-22578"/>
            <a:ext cx="4394200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7797800" y="-22578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 Placeholder 15"/>
          <p:cNvSpPr txBox="1">
            <a:spLocks/>
          </p:cNvSpPr>
          <p:nvPr/>
        </p:nvSpPr>
        <p:spPr>
          <a:xfrm>
            <a:off x="8207686" y="2421662"/>
            <a:ext cx="357442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o-KR" altLang="en-US" sz="3600" dirty="0" err="1">
                <a:solidFill>
                  <a:srgbClr val="262626"/>
                </a:solidFill>
                <a:latin typeface="나눔스퀘어라운드 ExtraBold" panose="020B0600000101010101" charset="-127"/>
                <a:ea typeface="나눔스퀘어라운드 ExtraBold" panose="020B0600000101010101" charset="-127"/>
              </a:rPr>
              <a:t>워드클라우드를</a:t>
            </a:r>
            <a:r>
              <a:rPr lang="ko-KR" altLang="en-US" sz="3600" dirty="0">
                <a:solidFill>
                  <a:srgbClr val="262626"/>
                </a:solidFill>
                <a:latin typeface="나눔스퀘어라운드 ExtraBold" panose="020B0600000101010101" charset="-127"/>
                <a:ea typeface="나눔스퀘어라운드 ExtraBold" panose="020B0600000101010101" charset="-127"/>
              </a:rPr>
              <a:t> 이용한 리뷰 분석</a:t>
            </a:r>
            <a:endParaRPr kumimoji="0" lang="en-US" sz="3600" b="1" i="0" u="none" strike="noStrike" kern="1200" cap="all" spc="-3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나눔스퀘어라운드 ExtraBold" panose="020B0600000101010101" charset="-127"/>
              <a:ea typeface="나눔스퀘어라운드 ExtraBold" panose="020B0600000101010101" charset="-127"/>
            </a:endParaRPr>
          </a:p>
        </p:txBody>
      </p:sp>
      <p:sp>
        <p:nvSpPr>
          <p:cNvPr id="87" name="Content Placeholder 15"/>
          <p:cNvSpPr txBox="1">
            <a:spLocks/>
          </p:cNvSpPr>
          <p:nvPr/>
        </p:nvSpPr>
        <p:spPr>
          <a:xfrm>
            <a:off x="9107211" y="4685997"/>
            <a:ext cx="177537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1800" b="0" i="0" kern="1200" baseline="0" dirty="0" smtClean="0">
                <a:solidFill>
                  <a:schemeClr val="tx1">
                    <a:lumMod val="90000"/>
                    <a:lumOff val="10000"/>
                  </a:schemeClr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ko-KR" altLang="en-US" dirty="0">
                <a:solidFill>
                  <a:srgbClr val="262626"/>
                </a:solidFill>
              </a:rPr>
              <a:t>구현모</a:t>
            </a:r>
            <a:endParaRPr kumimoji="0" lang="en-US" altLang="ko-KR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 Light" panose="020B0403030403020204" pitchFamily="34" charset="-18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49141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B5DF13A8-3865-478F-B9F7-29EB1C4971E4}"/>
              </a:ext>
            </a:extLst>
          </p:cNvPr>
          <p:cNvSpPr/>
          <p:nvPr/>
        </p:nvSpPr>
        <p:spPr>
          <a:xfrm>
            <a:off x="0" y="37618"/>
            <a:ext cx="4496586" cy="6845481"/>
          </a:xfrm>
          <a:prstGeom prst="rect">
            <a:avLst/>
          </a:prstGeom>
          <a:solidFill>
            <a:schemeClr val="bg1">
              <a:lumMod val="85000"/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531930" y="809872"/>
            <a:ext cx="3847419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8899" rtl="0" eaLnBrk="1" fontAlgn="auto" latinLnBrk="0" hangingPunct="1">
              <a:lnSpc>
                <a:spcPts val="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서울한강체 B" panose="02020503020101020101" pitchFamily="18" charset="-127"/>
                <a:ea typeface="서울한강체 B" panose="02020503020101020101" pitchFamily="18" charset="-127"/>
                <a:cs typeface="+mj-cs"/>
              </a:rPr>
              <a:t>목차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서울한강체 B" panose="02020503020101020101" pitchFamily="18" charset="-127"/>
              <a:ea typeface="서울한강체 B" panose="02020503020101020101" pitchFamily="18" charset="-127"/>
              <a:cs typeface="+mj-cs"/>
            </a:endParaRP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>
          <a:xfrm>
            <a:off x="1456390" y="854933"/>
            <a:ext cx="6561784" cy="430887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  <p:cxnSp>
        <p:nvCxnSpPr>
          <p:cNvPr id="21" name="Straight Connector 20"/>
          <p:cNvCxnSpPr>
            <a:cxnSpLocks/>
            <a:endCxn id="20" idx="3"/>
          </p:cNvCxnSpPr>
          <p:nvPr/>
        </p:nvCxnSpPr>
        <p:spPr>
          <a:xfrm>
            <a:off x="300038" y="1267072"/>
            <a:ext cx="4079311" cy="0"/>
          </a:xfrm>
          <a:prstGeom prst="line">
            <a:avLst/>
          </a:prstGeom>
          <a:ln>
            <a:solidFill>
              <a:srgbClr val="1A25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D50F9E4F-71DA-44B2-8E62-4D27C6130DDD}"/>
              </a:ext>
            </a:extLst>
          </p:cNvPr>
          <p:cNvSpPr txBox="1">
            <a:spLocks/>
          </p:cNvSpPr>
          <p:nvPr/>
        </p:nvSpPr>
        <p:spPr>
          <a:xfrm>
            <a:off x="522550" y="2043827"/>
            <a:ext cx="3577733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-3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나눔고딕" panose="020B0600000101010101" charset="-127"/>
                <a:ea typeface="문체부 돋음체" panose="020B0609000101010101" pitchFamily="49" charset="-127"/>
              </a:rPr>
              <a:t>1. </a:t>
            </a:r>
            <a:r>
              <a:rPr lang="ko-KR" altLang="en-US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프로젝트 목적</a:t>
            </a:r>
            <a:endParaRPr kumimoji="0" lang="en-US" sz="2200" b="0" i="0" u="none" strike="noStrike" kern="1200" cap="none" spc="-3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나눔고딕" panose="020B0600000101010101" charset="-127"/>
              <a:ea typeface="문체부 돋음체" panose="020B0609000101010101" pitchFamily="49" charset="-127"/>
            </a:endParaRP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DC3AF3B0-700D-4141-A609-5DCEA181EB6B}"/>
              </a:ext>
            </a:extLst>
          </p:cNvPr>
          <p:cNvSpPr txBox="1">
            <a:spLocks/>
          </p:cNvSpPr>
          <p:nvPr/>
        </p:nvSpPr>
        <p:spPr>
          <a:xfrm>
            <a:off x="531929" y="2533899"/>
            <a:ext cx="3964657" cy="419704"/>
          </a:xfrm>
          <a:prstGeom prst="rect">
            <a:avLst/>
          </a:prstGeom>
        </p:spPr>
        <p:txBody>
          <a:bodyPr lIns="0" tIns="0" rIns="0" bIns="0">
            <a:normAutofit fontScale="700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-3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나눔고딕" panose="020B0600000101010101" charset="-127"/>
                <a:ea typeface="문체부 돋음체" panose="020B0609000101010101" pitchFamily="49" charset="-127"/>
              </a:rPr>
              <a:t>2. </a:t>
            </a:r>
            <a:r>
              <a:rPr lang="ko-KR" altLang="en-US" sz="3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프로젝트 목표 및 기대효과</a:t>
            </a:r>
            <a:endParaRPr kumimoji="0" lang="en-US" sz="3200" b="0" i="0" u="none" strike="noStrike" kern="1200" cap="none" spc="-3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나눔고딕" panose="020B0600000101010101" charset="-127"/>
              <a:ea typeface="문체부 돋음체" panose="020B0609000101010101" pitchFamily="49" charset="-127"/>
            </a:endParaRPr>
          </a:p>
        </p:txBody>
      </p:sp>
      <p:sp>
        <p:nvSpPr>
          <p:cNvPr id="3" name="직사각형 2">
            <a:extLst>
              <a:ext uri="{FF2B5EF4-FFF2-40B4-BE49-F238E27FC236}">
                <a16:creationId xmlns:a16="http://schemas.microsoft.com/office/drawing/2014/main" id="{6908E12D-E2CB-44A2-BF7A-6DD6A67E8F18}"/>
              </a:ext>
            </a:extLst>
          </p:cNvPr>
          <p:cNvSpPr/>
          <p:nvPr/>
        </p:nvSpPr>
        <p:spPr>
          <a:xfrm>
            <a:off x="212436" y="6326909"/>
            <a:ext cx="729673" cy="350982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Content Placeholder 15">
            <a:extLst>
              <a:ext uri="{FF2B5EF4-FFF2-40B4-BE49-F238E27FC236}">
                <a16:creationId xmlns:a16="http://schemas.microsoft.com/office/drawing/2014/main" id="{F4E9FEF4-E0E3-457F-BA55-BB3FDAD16148}"/>
              </a:ext>
            </a:extLst>
          </p:cNvPr>
          <p:cNvSpPr txBox="1">
            <a:spLocks/>
          </p:cNvSpPr>
          <p:nvPr/>
        </p:nvSpPr>
        <p:spPr>
          <a:xfrm>
            <a:off x="531929" y="3040655"/>
            <a:ext cx="4214732" cy="419704"/>
          </a:xfrm>
          <a:prstGeom prst="rect">
            <a:avLst/>
          </a:prstGeom>
        </p:spPr>
        <p:txBody>
          <a:bodyPr lIns="0" tIns="0" rIns="0" bIns="0">
            <a:normAutofit fontScale="700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3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3</a:t>
            </a:r>
            <a:r>
              <a:rPr kumimoji="0" lang="en-US" sz="3200" b="0" i="0" u="none" strike="noStrike" kern="1200" cap="none" spc="-3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나눔고딕" panose="020B0600000101010101" charset="-127"/>
                <a:ea typeface="문체부 돋음체" panose="020B0609000101010101" pitchFamily="49" charset="-127"/>
              </a:rPr>
              <a:t>. </a:t>
            </a:r>
            <a:r>
              <a:rPr lang="ko-KR" altLang="en-US" sz="3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프로젝트 차별성 및 </a:t>
            </a:r>
            <a:r>
              <a:rPr lang="en-US" altLang="ko-KR" sz="3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Plan A,B</a:t>
            </a:r>
          </a:p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200" b="0" i="0" u="none" strike="noStrike" kern="1200" cap="none" spc="-3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나눔고딕" panose="020B0600000101010101" charset="-127"/>
              <a:ea typeface="문체부 돋음체" panose="020B0609000101010101" pitchFamily="49" charset="-127"/>
            </a:endParaRPr>
          </a:p>
        </p:txBody>
      </p:sp>
      <p:sp>
        <p:nvSpPr>
          <p:cNvPr id="11" name="Content Placeholder 15">
            <a:extLst>
              <a:ext uri="{FF2B5EF4-FFF2-40B4-BE49-F238E27FC236}">
                <a16:creationId xmlns:a16="http://schemas.microsoft.com/office/drawing/2014/main" id="{77E7853B-29E0-4E31-9945-4AEF354C33D9}"/>
              </a:ext>
            </a:extLst>
          </p:cNvPr>
          <p:cNvSpPr txBox="1">
            <a:spLocks/>
          </p:cNvSpPr>
          <p:nvPr/>
        </p:nvSpPr>
        <p:spPr>
          <a:xfrm>
            <a:off x="522550" y="3893019"/>
            <a:ext cx="4214732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5</a:t>
            </a:r>
            <a:r>
              <a:rPr kumimoji="0" lang="en-US" sz="2200" b="0" i="0" u="none" strike="noStrike" kern="1200" cap="none" spc="-3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나눔고딕" panose="020B0600000101010101" charset="-127"/>
                <a:ea typeface="문체부 돋음체" panose="020B0609000101010101" pitchFamily="49" charset="-127"/>
              </a:rPr>
              <a:t>. </a:t>
            </a:r>
            <a:r>
              <a:rPr lang="ko-KR" altLang="en-US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프로젝트 시연</a:t>
            </a:r>
            <a:endParaRPr kumimoji="0" lang="en-US" sz="2200" b="0" i="0" u="none" strike="noStrike" kern="1200" cap="none" spc="-3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나눔고딕" panose="020B0600000101010101" charset="-127"/>
              <a:ea typeface="문체부 돋음체" panose="020B0609000101010101" pitchFamily="49" charset="-127"/>
            </a:endParaRP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70EDD354-EA87-4F91-8EC9-F4CFDDBB0CAD}"/>
              </a:ext>
            </a:extLst>
          </p:cNvPr>
          <p:cNvSpPr txBox="1">
            <a:spLocks/>
          </p:cNvSpPr>
          <p:nvPr/>
        </p:nvSpPr>
        <p:spPr>
          <a:xfrm>
            <a:off x="531929" y="3409559"/>
            <a:ext cx="3847420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8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-3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나눔고딕" panose="020B0600000101010101" charset="-127"/>
                <a:ea typeface="문체부 돋음체" panose="020B0609000101010101" pitchFamily="49" charset="-127"/>
              </a:rPr>
              <a:t>4. </a:t>
            </a:r>
            <a:r>
              <a:rPr lang="ko-KR" altLang="en-US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프로젝트 </a:t>
            </a:r>
            <a:r>
              <a:rPr lang="en-US" altLang="ko-KR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 </a:t>
            </a:r>
            <a:r>
              <a:rPr lang="ko-KR" altLang="en-US" sz="2200" dirty="0">
                <a:solidFill>
                  <a:srgbClr val="262626"/>
                </a:solidFill>
                <a:latin typeface="나눔고딕" panose="020B0600000101010101" charset="-127"/>
                <a:ea typeface="문체부 돋음체" panose="020B0609000101010101" pitchFamily="49" charset="-127"/>
              </a:rPr>
              <a:t>주요 내용</a:t>
            </a:r>
            <a:endParaRPr lang="en-US" altLang="ko-KR" sz="2200" dirty="0">
              <a:solidFill>
                <a:srgbClr val="262626"/>
              </a:solidFill>
              <a:latin typeface="나눔고딕" panose="020B0600000101010101" charset="-127"/>
              <a:ea typeface="문체부 돋음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75439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4040ADB9-4F37-4465-A580-698CCE4C2888}"/>
              </a:ext>
            </a:extLst>
          </p:cNvPr>
          <p:cNvSpPr/>
          <p:nvPr/>
        </p:nvSpPr>
        <p:spPr>
          <a:xfrm>
            <a:off x="0" y="0"/>
            <a:ext cx="3233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8EB88FE4-024C-4529-A4D2-0473E47D8C02}"/>
              </a:ext>
            </a:extLst>
          </p:cNvPr>
          <p:cNvCxnSpPr/>
          <p:nvPr/>
        </p:nvCxnSpPr>
        <p:spPr>
          <a:xfrm>
            <a:off x="0" y="551588"/>
            <a:ext cx="12192000" cy="0"/>
          </a:xfrm>
          <a:prstGeom prst="line">
            <a:avLst/>
          </a:prstGeom>
          <a:ln w="254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18B2397-6E1E-490E-87D2-925C0700E101}"/>
              </a:ext>
            </a:extLst>
          </p:cNvPr>
          <p:cNvSpPr txBox="1"/>
          <p:nvPr/>
        </p:nvSpPr>
        <p:spPr>
          <a:xfrm>
            <a:off x="381786" y="151478"/>
            <a:ext cx="246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1. 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프로젝트 목적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58892A-5B8D-4FFE-AE78-96A9802B6307}"/>
              </a:ext>
            </a:extLst>
          </p:cNvPr>
          <p:cNvSpPr txBox="1"/>
          <p:nvPr/>
        </p:nvSpPr>
        <p:spPr>
          <a:xfrm>
            <a:off x="3655886" y="2319799"/>
            <a:ext cx="7682673" cy="1788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dirty="0">
                <a:ea typeface="문체부 돋음체" panose="020B0609000101010101" pitchFamily="49" charset="-127"/>
              </a:rPr>
              <a:t>기존 리뷰 시스템의 단점을 개선한다</a:t>
            </a:r>
            <a:r>
              <a:rPr lang="en-US" altLang="ko-KR" dirty="0">
                <a:ea typeface="문체부 돋음체" panose="020B0609000101010101" pitchFamily="49" charset="-127"/>
              </a:rPr>
              <a:t>.</a:t>
            </a:r>
          </a:p>
          <a:p>
            <a:pPr marL="0" marR="175260" indent="0" algn="just" fontAlgn="base" latinLnBrk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작성된 리뷰를 분석하여 리뷰 내용의 키워드를 분리 이를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워드클라우드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형식으로 분석한 뒤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워드클라우드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이미지를 사용자에게 제공하여 영화에 대한 정보를 쉽게 알 수 있도록 </a:t>
            </a:r>
            <a:r>
              <a:rPr lang="ko-KR" altLang="en-US" kern="0" dirty="0">
                <a:solidFill>
                  <a:srgbClr val="000000"/>
                </a:solidFill>
                <a:ea typeface="문체부 돋음체" panose="020B0609000101010101" pitchFamily="49" charset="-127"/>
              </a:rPr>
              <a:t>한다</a:t>
            </a:r>
            <a:r>
              <a:rPr lang="en-US" altLang="ko-KR" kern="0" dirty="0">
                <a:solidFill>
                  <a:srgbClr val="000000"/>
                </a:solidFill>
                <a:ea typeface="문체부 돋음체" panose="020B0609000101010101" pitchFamily="49" charset="-127"/>
              </a:rPr>
              <a:t>.</a:t>
            </a:r>
            <a:endParaRPr lang="ko-KR" altLang="en-US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08371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4040ADB9-4F37-4465-A580-698CCE4C2888}"/>
              </a:ext>
            </a:extLst>
          </p:cNvPr>
          <p:cNvSpPr/>
          <p:nvPr/>
        </p:nvSpPr>
        <p:spPr>
          <a:xfrm>
            <a:off x="0" y="0"/>
            <a:ext cx="3233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8EB88FE4-024C-4529-A4D2-0473E47D8C02}"/>
              </a:ext>
            </a:extLst>
          </p:cNvPr>
          <p:cNvCxnSpPr/>
          <p:nvPr/>
        </p:nvCxnSpPr>
        <p:spPr>
          <a:xfrm>
            <a:off x="0" y="551588"/>
            <a:ext cx="12192000" cy="0"/>
          </a:xfrm>
          <a:prstGeom prst="line">
            <a:avLst/>
          </a:prstGeom>
          <a:ln w="254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18B2397-6E1E-490E-87D2-925C0700E101}"/>
              </a:ext>
            </a:extLst>
          </p:cNvPr>
          <p:cNvSpPr txBox="1"/>
          <p:nvPr/>
        </p:nvSpPr>
        <p:spPr>
          <a:xfrm>
            <a:off x="381786" y="151478"/>
            <a:ext cx="32333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2.</a:t>
            </a:r>
            <a:r>
              <a:rPr lang="ko-KR" altLang="en-US" sz="2000" i="1" dirty="0" err="1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프로젝프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 목표 </a:t>
            </a:r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&amp; 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기대효과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6FACB8-5AB7-4B74-8428-BF4172AB7B0D}"/>
              </a:ext>
            </a:extLst>
          </p:cNvPr>
          <p:cNvSpPr txBox="1"/>
          <p:nvPr/>
        </p:nvSpPr>
        <p:spPr>
          <a:xfrm>
            <a:off x="3353513" y="1397675"/>
            <a:ext cx="754736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본 시스템을 통하여 실제로 양화를 관람한 사용자들의 리뷰를 분석하여 </a:t>
            </a:r>
            <a:r>
              <a:rPr lang="ko-KR" altLang="en-US" kern="0" dirty="0">
                <a:solidFill>
                  <a:srgbClr val="000000"/>
                </a:solidFill>
                <a:ea typeface="문체부 돋음체" panose="020B0609000101010101" pitchFamily="49" charset="-127"/>
              </a:rPr>
              <a:t>영화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에 대한 정보를 간결하고 객관적으로 나타낼 수 있도록 한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 </a:t>
            </a:r>
          </a:p>
          <a:p>
            <a:endParaRPr lang="en-US" altLang="ko-KR" kern="0" dirty="0">
              <a:solidFill>
                <a:srgbClr val="000000"/>
              </a:solidFill>
              <a:latin typeface="굴림" panose="020B0600000101010101" pitchFamily="50" charset="-127"/>
              <a:ea typeface="문체부 돋음체" panose="020B0609000101010101" pitchFamily="49" charset="-127"/>
            </a:endParaRPr>
          </a:p>
          <a:p>
            <a:r>
              <a:rPr lang="ko-KR" altLang="en-US" kern="0" dirty="0" err="1">
                <a:solidFill>
                  <a:srgbClr val="000000"/>
                </a:solidFill>
                <a:latin typeface="굴림" panose="020B0600000101010101" pitchFamily="50" charset="-127"/>
                <a:ea typeface="문체부 돋음체" panose="020B0609000101010101" pitchFamily="49" charset="-127"/>
              </a:rPr>
              <a:t>크롤링을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통해 리뷰 데이터를 받아온 뒤 이를 단어 단위 단위로 분석하여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워드클라우드로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나타낸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 </a:t>
            </a:r>
          </a:p>
          <a:p>
            <a:endParaRPr lang="en-US" altLang="ko-KR" kern="0" dirty="0">
              <a:solidFill>
                <a:srgbClr val="000000"/>
              </a:solidFill>
              <a:latin typeface="굴림" panose="020B0600000101010101" pitchFamily="50" charset="-127"/>
              <a:ea typeface="문체부 돋음체" panose="020B0609000101010101" pitchFamily="49" charset="-127"/>
            </a:endParaRPr>
          </a:p>
          <a:p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기존의 리뷰 시스템에서 알기 힘들었던 </a:t>
            </a:r>
            <a:r>
              <a:rPr lang="ko-KR" altLang="en-US" kern="0" dirty="0">
                <a:solidFill>
                  <a:srgbClr val="000000"/>
                </a:solidFill>
                <a:ea typeface="문체부 돋음체" panose="020B0609000101010101" pitchFamily="49" charset="-127"/>
              </a:rPr>
              <a:t>영화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에 대한 객관적인 평가를 </a:t>
            </a:r>
            <a:r>
              <a:rPr lang="ko-KR" altLang="en-US" sz="1800" kern="0" spc="0" dirty="0" err="1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워드클라우드로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표현하여 사용자가 판단하는데 도움을 준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</a:t>
            </a:r>
            <a:endParaRPr lang="ko-KR" altLang="en-US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  <a:p>
            <a:endParaRPr lang="ko-KR" altLang="en-US" dirty="0">
              <a:ea typeface="문체부 돋음체" panose="020B0609000101010101" pitchFamily="49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282163-1CF1-4D42-9628-3B6B1C3A49FD}"/>
              </a:ext>
            </a:extLst>
          </p:cNvPr>
          <p:cNvSpPr txBox="1"/>
          <p:nvPr/>
        </p:nvSpPr>
        <p:spPr>
          <a:xfrm>
            <a:off x="3591612" y="4536995"/>
            <a:ext cx="707116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dirty="0">
                <a:ea typeface="문체부 돋음체" panose="020B0609000101010101" pitchFamily="49" charset="-127"/>
              </a:rPr>
              <a:t>리뷰를 분석하는 본 시스템을 이용하여 악의적 저평가를 걸러내고 </a:t>
            </a:r>
            <a:endParaRPr lang="en-US" altLang="ko-KR" dirty="0">
              <a:ea typeface="문체부 돋음체" panose="020B0609000101010101" pitchFamily="49" charset="-127"/>
            </a:endParaRPr>
          </a:p>
          <a:p>
            <a:r>
              <a:rPr lang="ko-KR" altLang="en-US" dirty="0">
                <a:ea typeface="문체부 돋음체" panose="020B0609000101010101" pitchFamily="49" charset="-127"/>
              </a:rPr>
              <a:t>기존 사용자들의 평가를 </a:t>
            </a:r>
            <a:r>
              <a:rPr lang="ko-KR" altLang="en-US" dirty="0" err="1">
                <a:ea typeface="문체부 돋음체" panose="020B0609000101010101" pitchFamily="49" charset="-127"/>
              </a:rPr>
              <a:t>워드클라우드로</a:t>
            </a:r>
            <a:r>
              <a:rPr lang="ko-KR" altLang="en-US" dirty="0">
                <a:ea typeface="문체부 돋음체" panose="020B0609000101010101" pitchFamily="49" charset="-127"/>
              </a:rPr>
              <a:t> 간결하게 표현하여 </a:t>
            </a:r>
            <a:endParaRPr lang="en-US" altLang="ko-KR" dirty="0">
              <a:ea typeface="문체부 돋음체" panose="020B0609000101010101" pitchFamily="49" charset="-127"/>
            </a:endParaRPr>
          </a:p>
          <a:p>
            <a:r>
              <a:rPr lang="ko-KR" altLang="en-US" dirty="0">
                <a:ea typeface="문체부 돋음체" panose="020B0609000101010101" pitchFamily="49" charset="-127"/>
              </a:rPr>
              <a:t>영화에 대한 정보를 제공한다</a:t>
            </a:r>
            <a:r>
              <a:rPr lang="en-US" altLang="ko-KR" dirty="0">
                <a:ea typeface="문체부 돋음체" panose="020B0609000101010101" pitchFamily="49" charset="-127"/>
              </a:rPr>
              <a:t>.</a:t>
            </a:r>
            <a:endParaRPr lang="ko-KR" altLang="en-US" dirty="0">
              <a:ea typeface="문체부 돋음체" panose="020B0609000101010101" pitchFamily="49" charset="-127"/>
            </a:endParaRPr>
          </a:p>
        </p:txBody>
      </p:sp>
      <p:sp>
        <p:nvSpPr>
          <p:cNvPr id="7" name="화살표: 아래쪽 6">
            <a:extLst>
              <a:ext uri="{FF2B5EF4-FFF2-40B4-BE49-F238E27FC236}">
                <a16:creationId xmlns:a16="http://schemas.microsoft.com/office/drawing/2014/main" id="{E09C8CA0-90B7-4AA4-95CA-10D562D1C3B4}"/>
              </a:ext>
            </a:extLst>
          </p:cNvPr>
          <p:cNvSpPr/>
          <p:nvPr/>
        </p:nvSpPr>
        <p:spPr>
          <a:xfrm>
            <a:off x="6770670" y="3750067"/>
            <a:ext cx="544530" cy="786928"/>
          </a:xfrm>
          <a:prstGeom prst="down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67693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4040ADB9-4F37-4465-A580-698CCE4C2888}"/>
              </a:ext>
            </a:extLst>
          </p:cNvPr>
          <p:cNvSpPr/>
          <p:nvPr/>
        </p:nvSpPr>
        <p:spPr>
          <a:xfrm>
            <a:off x="0" y="0"/>
            <a:ext cx="3233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8EB88FE4-024C-4529-A4D2-0473E47D8C02}"/>
              </a:ext>
            </a:extLst>
          </p:cNvPr>
          <p:cNvCxnSpPr/>
          <p:nvPr/>
        </p:nvCxnSpPr>
        <p:spPr>
          <a:xfrm>
            <a:off x="0" y="551588"/>
            <a:ext cx="12192000" cy="0"/>
          </a:xfrm>
          <a:prstGeom prst="line">
            <a:avLst/>
          </a:prstGeom>
          <a:ln w="254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18B2397-6E1E-490E-87D2-925C0700E101}"/>
              </a:ext>
            </a:extLst>
          </p:cNvPr>
          <p:cNvSpPr txBox="1"/>
          <p:nvPr/>
        </p:nvSpPr>
        <p:spPr>
          <a:xfrm>
            <a:off x="381786" y="151478"/>
            <a:ext cx="246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3. 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프로젝트 차별성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81BC0C-4155-415B-BB2E-0A9F59060977}"/>
              </a:ext>
            </a:extLst>
          </p:cNvPr>
          <p:cNvSpPr txBox="1"/>
          <p:nvPr/>
        </p:nvSpPr>
        <p:spPr>
          <a:xfrm>
            <a:off x="3369924" y="4035176"/>
            <a:ext cx="848180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dirty="0">
                <a:ea typeface="문체부 돋음체" panose="020B0609000101010101" pitchFamily="49" charset="-127"/>
              </a:rPr>
              <a:t>Plan A: </a:t>
            </a:r>
            <a:r>
              <a:rPr lang="ko-KR" altLang="en-US" dirty="0" err="1">
                <a:ea typeface="문체부 돋음체" panose="020B0609000101010101" pitchFamily="49" charset="-127"/>
              </a:rPr>
              <a:t>워드클라우드를</a:t>
            </a:r>
            <a:r>
              <a:rPr lang="ko-KR" altLang="en-US" dirty="0">
                <a:ea typeface="문체부 돋음체" panose="020B0609000101010101" pitchFamily="49" charset="-127"/>
              </a:rPr>
              <a:t> 이용한 리뷰 분석</a:t>
            </a:r>
            <a:endParaRPr lang="en-US" altLang="ko-KR" dirty="0">
              <a:ea typeface="문체부 돋음체" panose="020B0609000101010101" pitchFamily="49" charset="-127"/>
            </a:endParaRPr>
          </a:p>
          <a:p>
            <a:r>
              <a:rPr lang="en-US" altLang="ko-KR" dirty="0">
                <a:ea typeface="문체부 돋음체" panose="020B0609000101010101" pitchFamily="49" charset="-127"/>
              </a:rPr>
              <a:t>          1. </a:t>
            </a:r>
            <a:r>
              <a:rPr lang="ko-KR" altLang="en-US" dirty="0">
                <a:ea typeface="문체부 돋음체" panose="020B0609000101010101" pitchFamily="49" charset="-127"/>
              </a:rPr>
              <a:t>처음 영화 </a:t>
            </a:r>
            <a:r>
              <a:rPr lang="ko-KR" altLang="en-US" dirty="0" err="1">
                <a:ea typeface="문체부 돋음체" panose="020B0609000101010101" pitchFamily="49" charset="-127"/>
              </a:rPr>
              <a:t>선택시</a:t>
            </a:r>
            <a:r>
              <a:rPr lang="ko-KR" altLang="en-US" dirty="0">
                <a:ea typeface="문체부 돋음체" panose="020B0609000101010101" pitchFamily="49" charset="-127"/>
              </a:rPr>
              <a:t> 시간소요 되어도</a:t>
            </a:r>
            <a:r>
              <a:rPr lang="en-US" altLang="ko-KR" dirty="0">
                <a:ea typeface="문체부 돋음체" panose="020B0609000101010101" pitchFamily="49" charset="-127"/>
              </a:rPr>
              <a:t>, </a:t>
            </a:r>
            <a:r>
              <a:rPr lang="ko-KR" altLang="en-US" dirty="0">
                <a:ea typeface="문체부 돋음체" panose="020B0609000101010101" pitchFamily="49" charset="-127"/>
              </a:rPr>
              <a:t>그 다음부턴 </a:t>
            </a:r>
            <a:r>
              <a:rPr lang="ko-KR" altLang="en-US" dirty="0" err="1">
                <a:ea typeface="문체부 돋음체" panose="020B0609000101010101" pitchFamily="49" charset="-127"/>
              </a:rPr>
              <a:t>저장된것들</a:t>
            </a:r>
            <a:r>
              <a:rPr lang="ko-KR" altLang="en-US" dirty="0">
                <a:ea typeface="문체부 돋음체" panose="020B0609000101010101" pitchFamily="49" charset="-127"/>
              </a:rPr>
              <a:t> 보여준다</a:t>
            </a:r>
            <a:r>
              <a:rPr lang="en-US" altLang="ko-KR" dirty="0">
                <a:ea typeface="문체부 돋음체" panose="020B0609000101010101" pitchFamily="49" charset="-127"/>
              </a:rPr>
              <a:t>.</a:t>
            </a:r>
          </a:p>
          <a:p>
            <a:r>
              <a:rPr lang="en-US" altLang="ko-KR" dirty="0">
                <a:ea typeface="문체부 돋음체" panose="020B0609000101010101" pitchFamily="49" charset="-127"/>
              </a:rPr>
              <a:t>          2.</a:t>
            </a:r>
            <a:r>
              <a:rPr lang="ko-KR" altLang="en-US" dirty="0">
                <a:ea typeface="문체부 돋음체" panose="020B0609000101010101" pitchFamily="49" charset="-127"/>
              </a:rPr>
              <a:t> 특정주기 지나면 자동 삭제 기능 등</a:t>
            </a:r>
            <a:r>
              <a:rPr lang="en-US" altLang="ko-KR" dirty="0">
                <a:ea typeface="문체부 돋음체" panose="020B0609000101010101" pitchFamily="49" charset="-127"/>
              </a:rPr>
              <a:t> </a:t>
            </a:r>
            <a:r>
              <a:rPr lang="ko-KR" altLang="en-US" dirty="0">
                <a:ea typeface="문체부 돋음체" panose="020B0609000101010101" pitchFamily="49" charset="-127"/>
              </a:rPr>
              <a:t>구현한다</a:t>
            </a:r>
            <a:r>
              <a:rPr lang="en-US" altLang="ko-KR" dirty="0">
                <a:ea typeface="문체부 돋음체" panose="020B0609000101010101" pitchFamily="49" charset="-127"/>
              </a:rPr>
              <a:t>.</a:t>
            </a:r>
          </a:p>
          <a:p>
            <a:r>
              <a:rPr lang="en-US" altLang="ko-KR" dirty="0">
                <a:ea typeface="문체부 돋음체" panose="020B0609000101010101" pitchFamily="49" charset="-127"/>
              </a:rPr>
              <a:t>Plan B: </a:t>
            </a:r>
            <a:r>
              <a:rPr lang="ko-KR" altLang="en-US" dirty="0" err="1">
                <a:ea typeface="문체부 돋음체" panose="020B0609000101010101" pitchFamily="49" charset="-127"/>
              </a:rPr>
              <a:t>워드클라우드를</a:t>
            </a:r>
            <a:r>
              <a:rPr lang="ko-KR" altLang="en-US" dirty="0">
                <a:ea typeface="문체부 돋음체" panose="020B0609000101010101" pitchFamily="49" charset="-127"/>
              </a:rPr>
              <a:t> 이용한 리뷰 분석</a:t>
            </a:r>
            <a:endParaRPr lang="en-US" altLang="ko-KR" dirty="0">
              <a:ea typeface="문체부 돋음체" panose="020B0609000101010101" pitchFamily="49" charset="-127"/>
            </a:endParaRPr>
          </a:p>
          <a:p>
            <a:r>
              <a:rPr lang="en-US" altLang="ko-KR" dirty="0">
                <a:ea typeface="문체부 돋음체" panose="020B0609000101010101" pitchFamily="49" charset="-127"/>
              </a:rPr>
              <a:t>          1. </a:t>
            </a:r>
            <a:r>
              <a:rPr lang="ko-KR" altLang="en-US" dirty="0">
                <a:ea typeface="문체부 돋음체" panose="020B0609000101010101" pitchFamily="49" charset="-127"/>
              </a:rPr>
              <a:t>검색하여 선택한 영화의 </a:t>
            </a:r>
            <a:r>
              <a:rPr lang="ko-KR" altLang="en-US" dirty="0" err="1">
                <a:ea typeface="문체부 돋음체" panose="020B0609000101010101" pitchFamily="49" charset="-127"/>
              </a:rPr>
              <a:t>워드클라우드를</a:t>
            </a:r>
            <a:r>
              <a:rPr lang="ko-KR" altLang="en-US" dirty="0">
                <a:ea typeface="문체부 돋음체" panose="020B0609000101010101" pitchFamily="49" charset="-127"/>
              </a:rPr>
              <a:t> 나타낸다</a:t>
            </a:r>
            <a:r>
              <a:rPr lang="en-US" altLang="ko-KR" dirty="0">
                <a:ea typeface="문체부 돋음체" panose="020B0609000101010101" pitchFamily="49" charset="-127"/>
              </a:rPr>
              <a:t>.</a:t>
            </a:r>
          </a:p>
          <a:p>
            <a:r>
              <a:rPr lang="en-US" altLang="ko-KR" dirty="0">
                <a:ea typeface="문체부 돋음체" panose="020B0609000101010101" pitchFamily="49" charset="-127"/>
              </a:rPr>
              <a:t>          2. </a:t>
            </a:r>
            <a:r>
              <a:rPr lang="ko-KR" altLang="en-US" dirty="0" err="1">
                <a:ea typeface="문체부 돋음체" panose="020B0609000101010101" pitchFamily="49" charset="-127"/>
              </a:rPr>
              <a:t>크롤링을</a:t>
            </a:r>
            <a:r>
              <a:rPr lang="ko-KR" altLang="en-US" dirty="0">
                <a:ea typeface="문체부 돋음체" panose="020B0609000101010101" pitchFamily="49" charset="-127"/>
              </a:rPr>
              <a:t> 통한 리뷰 분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AD959D-39F5-4336-97DE-B6D59D3A9135}"/>
              </a:ext>
            </a:extLst>
          </p:cNvPr>
          <p:cNvSpPr txBox="1"/>
          <p:nvPr/>
        </p:nvSpPr>
        <p:spPr>
          <a:xfrm>
            <a:off x="3496234" y="1115869"/>
            <a:ext cx="8923781" cy="224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정보를 가공하여 수많은 리뷰속에서 사용자가 원하는 정보를 </a:t>
            </a:r>
            <a:endParaRPr lang="en-US" altLang="ko-KR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취사선택 할 수 있도록 도움을 줄 수 있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 </a:t>
            </a: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또한 리뷰를 분석하는 본 시스템을 통해서 왜곡된 정보를 걸러내고 </a:t>
            </a:r>
            <a:endParaRPr lang="en-US" altLang="ko-KR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관람객들의 후기를 단어 단위로 분석하여 객관적인 정보를 제공할 수 있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 </a:t>
            </a:r>
          </a:p>
          <a:p>
            <a:pPr marL="0" marR="0" indent="0" algn="just" fontAlgn="base" latinLnBrk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800" kern="0" spc="0" dirty="0" err="1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워드클라우드를</a:t>
            </a:r>
            <a:r>
              <a:rPr lang="ko-KR" altLang="en-US" sz="1800" kern="0" spc="0" dirty="0">
                <a:solidFill>
                  <a:srgbClr val="000000"/>
                </a:solidFill>
                <a:effectLst/>
                <a:ea typeface="문체부 돋음체" panose="020B0609000101010101" pitchFamily="49" charset="-127"/>
              </a:rPr>
              <a:t> 이용하여 시각적으로 표현하여 정보에 대한 접근을 쉽게 한다</a:t>
            </a:r>
            <a:r>
              <a:rPr lang="en-US" altLang="ko-KR" sz="1800" kern="0" spc="0" dirty="0">
                <a:solidFill>
                  <a:srgbClr val="000000"/>
                </a:solidFill>
                <a:effectLst/>
                <a:latin typeface="굴림" panose="020B0600000101010101" pitchFamily="50" charset="-127"/>
                <a:ea typeface="문체부 돋음체" panose="020B0609000101010101" pitchFamily="49" charset="-127"/>
              </a:rPr>
              <a:t>.</a:t>
            </a:r>
            <a:endParaRPr lang="ko-KR" altLang="en-US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56172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그림 12" descr="테이블이(가) 표시된 사진&#10;&#10;자동 생성된 설명">
            <a:extLst>
              <a:ext uri="{FF2B5EF4-FFF2-40B4-BE49-F238E27FC236}">
                <a16:creationId xmlns:a16="http://schemas.microsoft.com/office/drawing/2014/main" id="{27F74AEC-D067-470A-81DC-A4CFD4A047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48" y="-32793"/>
            <a:ext cx="7706412" cy="6858000"/>
          </a:xfrm>
          <a:prstGeom prst="rect">
            <a:avLst/>
          </a:prstGeom>
        </p:spPr>
      </p:pic>
      <p:sp>
        <p:nvSpPr>
          <p:cNvPr id="2" name="직사각형 1">
            <a:extLst>
              <a:ext uri="{FF2B5EF4-FFF2-40B4-BE49-F238E27FC236}">
                <a16:creationId xmlns:a16="http://schemas.microsoft.com/office/drawing/2014/main" id="{4040ADB9-4F37-4465-A580-698CCE4C2888}"/>
              </a:ext>
            </a:extLst>
          </p:cNvPr>
          <p:cNvSpPr/>
          <p:nvPr/>
        </p:nvSpPr>
        <p:spPr>
          <a:xfrm>
            <a:off x="0" y="0"/>
            <a:ext cx="3233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8EB88FE4-024C-4529-A4D2-0473E47D8C02}"/>
              </a:ext>
            </a:extLst>
          </p:cNvPr>
          <p:cNvCxnSpPr/>
          <p:nvPr/>
        </p:nvCxnSpPr>
        <p:spPr>
          <a:xfrm>
            <a:off x="0" y="551588"/>
            <a:ext cx="12192000" cy="0"/>
          </a:xfrm>
          <a:prstGeom prst="line">
            <a:avLst/>
          </a:prstGeom>
          <a:ln w="254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18B2397-6E1E-490E-87D2-925C0700E101}"/>
              </a:ext>
            </a:extLst>
          </p:cNvPr>
          <p:cNvSpPr txBox="1"/>
          <p:nvPr/>
        </p:nvSpPr>
        <p:spPr>
          <a:xfrm>
            <a:off x="381786" y="151478"/>
            <a:ext cx="26195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4. 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프로젝트 주요 내용</a:t>
            </a:r>
          </a:p>
        </p:txBody>
      </p:sp>
      <p:pic>
        <p:nvPicPr>
          <p:cNvPr id="9" name="그림 8" descr="텍스트이(가) 표시된 사진&#10;&#10;자동 생성된 설명">
            <a:extLst>
              <a:ext uri="{FF2B5EF4-FFF2-40B4-BE49-F238E27FC236}">
                <a16:creationId xmlns:a16="http://schemas.microsoft.com/office/drawing/2014/main" id="{2B5D0F25-602B-46B1-BF1B-FC1DCC0785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8016" y="151478"/>
            <a:ext cx="8165074" cy="6858000"/>
          </a:xfrm>
          <a:prstGeom prst="rect">
            <a:avLst/>
          </a:prstGeom>
        </p:spPr>
      </p:pic>
      <p:pic>
        <p:nvPicPr>
          <p:cNvPr id="11" name="그림 10">
            <a:extLst>
              <a:ext uri="{FF2B5EF4-FFF2-40B4-BE49-F238E27FC236}">
                <a16:creationId xmlns:a16="http://schemas.microsoft.com/office/drawing/2014/main" id="{9BC4EEC2-7BDC-46D2-8E56-3F14DCE22D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78594" y="351533"/>
            <a:ext cx="9507277" cy="5191850"/>
          </a:xfrm>
          <a:prstGeom prst="rect">
            <a:avLst/>
          </a:prstGeom>
        </p:spPr>
      </p:pic>
      <p:pic>
        <p:nvPicPr>
          <p:cNvPr id="15" name="그림 14">
            <a:extLst>
              <a:ext uri="{FF2B5EF4-FFF2-40B4-BE49-F238E27FC236}">
                <a16:creationId xmlns:a16="http://schemas.microsoft.com/office/drawing/2014/main" id="{DB0E3799-2540-454C-96C4-ABEEBE4794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99076" y="3363413"/>
            <a:ext cx="9423853" cy="6858000"/>
          </a:xfrm>
          <a:prstGeom prst="rect">
            <a:avLst/>
          </a:prstGeom>
        </p:spPr>
      </p:pic>
      <p:pic>
        <p:nvPicPr>
          <p:cNvPr id="7" name="그림 6" descr="텍스트이(가) 표시된 사진&#10;&#10;자동 생성된 설명">
            <a:extLst>
              <a:ext uri="{FF2B5EF4-FFF2-40B4-BE49-F238E27FC236}">
                <a16:creationId xmlns:a16="http://schemas.microsoft.com/office/drawing/2014/main" id="{4F1B8FFE-8E71-4007-BC4B-4B979690BE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12159" y="-65587"/>
            <a:ext cx="74980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6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id="{4040ADB9-4F37-4465-A580-698CCE4C2888}"/>
              </a:ext>
            </a:extLst>
          </p:cNvPr>
          <p:cNvSpPr/>
          <p:nvPr/>
        </p:nvSpPr>
        <p:spPr>
          <a:xfrm>
            <a:off x="0" y="0"/>
            <a:ext cx="32333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cxnSp>
        <p:nvCxnSpPr>
          <p:cNvPr id="3" name="직선 연결선 2">
            <a:extLst>
              <a:ext uri="{FF2B5EF4-FFF2-40B4-BE49-F238E27FC236}">
                <a16:creationId xmlns:a16="http://schemas.microsoft.com/office/drawing/2014/main" id="{8EB88FE4-024C-4529-A4D2-0473E47D8C02}"/>
              </a:ext>
            </a:extLst>
          </p:cNvPr>
          <p:cNvCxnSpPr/>
          <p:nvPr/>
        </p:nvCxnSpPr>
        <p:spPr>
          <a:xfrm>
            <a:off x="0" y="551588"/>
            <a:ext cx="12192000" cy="0"/>
          </a:xfrm>
          <a:prstGeom prst="line">
            <a:avLst/>
          </a:prstGeom>
          <a:ln w="254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18B2397-6E1E-490E-87D2-925C0700E101}"/>
              </a:ext>
            </a:extLst>
          </p:cNvPr>
          <p:cNvSpPr txBox="1"/>
          <p:nvPr/>
        </p:nvSpPr>
        <p:spPr>
          <a:xfrm>
            <a:off x="381786" y="151478"/>
            <a:ext cx="246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5. </a:t>
            </a:r>
            <a:r>
              <a:rPr lang="ko-KR" altLang="en-US" sz="2000" i="1" dirty="0">
                <a:latin typeface="나눔스퀘어라운드 ExtraBold" panose="020B0600000101010101" pitchFamily="50" charset="-127"/>
                <a:ea typeface="나눔스퀘어라운드 ExtraBold" panose="020B0600000101010101" pitchFamily="50" charset="-127"/>
              </a:rPr>
              <a:t>프로젝트 시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58892A-5B8D-4FFE-AE78-96A9802B6307}"/>
              </a:ext>
            </a:extLst>
          </p:cNvPr>
          <p:cNvSpPr txBox="1"/>
          <p:nvPr/>
        </p:nvSpPr>
        <p:spPr>
          <a:xfrm>
            <a:off x="3516357" y="915574"/>
            <a:ext cx="8392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>
                <a:ea typeface="문체부 돋음체" panose="020B0609000101010101" pitchFamily="49" charset="-127"/>
              </a:rPr>
              <a:t>http://ec2-3-35-10-40.ap-northeast-2.compute.amazonaws.com:8080/home</a:t>
            </a:r>
            <a:endParaRPr lang="ko-KR" altLang="en-US" sz="1800" kern="0" spc="0" dirty="0">
              <a:solidFill>
                <a:srgbClr val="000000"/>
              </a:solidFill>
              <a:effectLst/>
              <a:ea typeface="문체부 돋음체" panose="020B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65385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2</TotalTime>
  <Words>273</Words>
  <Application>Microsoft Office PowerPoint</Application>
  <PresentationFormat>와이드스크린</PresentationFormat>
  <Paragraphs>36</Paragraphs>
  <Slides>7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20" baseType="lpstr">
      <vt:lpstr>맑은 고딕</vt:lpstr>
      <vt:lpstr>Source Sans Pro</vt:lpstr>
      <vt:lpstr>Georgia</vt:lpstr>
      <vt:lpstr>굴림</vt:lpstr>
      <vt:lpstr>Arial</vt:lpstr>
      <vt:lpstr>나눔스퀘어라운드 ExtraBold</vt:lpstr>
      <vt:lpstr>서울한강체 B</vt:lpstr>
      <vt:lpstr>Source Sans Pro Black</vt:lpstr>
      <vt:lpstr>Source Sans Pro Light</vt:lpstr>
      <vt:lpstr>나눔고딕</vt:lpstr>
      <vt:lpstr>Office 테마</vt:lpstr>
      <vt:lpstr>Office Them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K HM</dc:creator>
  <cp:lastModifiedBy>K HM</cp:lastModifiedBy>
  <cp:revision>300</cp:revision>
  <dcterms:created xsi:type="dcterms:W3CDTF">2018-11-11T07:15:39Z</dcterms:created>
  <dcterms:modified xsi:type="dcterms:W3CDTF">2021-09-09T19:32:18Z</dcterms:modified>
</cp:coreProperties>
</file>